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41" r:id="rId1"/>
    <p:sldMasterId id="2147484046" r:id="rId2"/>
  </p:sldMasterIdLst>
  <p:sldIdLst>
    <p:sldId id="675" r:id="rId3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 varScale="1">
        <p:scale>
          <a:sx n="93" d="100"/>
          <a:sy n="93" d="100"/>
        </p:scale>
        <p:origin x="78" y="31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1.xml"/><Relationship Id="rId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6.bin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966414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131960F6-CFEA-4330-8F32-C375C61B0E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3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131960F6-CFEA-4330-8F32-C375C61B0E0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58AA09-1EFB-4A69-9545-809A9300EBDF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8ADE0DC8-966B-40AD-A4BA-773A6E3723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90153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FD26729E-9A2C-4CFC-BD94-9E8FF8D7FD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5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FD26729E-9A2C-4CFC-BD94-9E8FF8D7FDC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5672EF-9D8D-476F-8498-FAC93F9706F2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0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b="0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4 January 2021</a:t>
            </a:fld>
            <a:endParaRPr lang="en-GB" b="0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1E09AA-7ADD-4F57-8368-35F263BAEBBD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0" dirty="0">
                <a:solidFill>
                  <a:srgbClr val="7F7F7F"/>
                </a:solidFill>
              </a:rPr>
              <a:t>Page </a:t>
            </a:r>
            <a:fld id="{17428DE2-2D0E-41C0-98B4-3F2C8A3D3962}" type="slidenum">
              <a:rPr lang="en-GB" b="0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b="0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6895EE75-EE1A-49E2-8E6F-F01733111E15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35E41723-2A2E-4A5C-A9BE-CBCE82ECE4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758743CD-B9D9-4DA8-9DB1-444BADAE93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1162 w 501"/>
                <a:gd name="T1" fmla="*/ 9771 h 429"/>
                <a:gd name="T2" fmla="*/ 10531 w 501"/>
                <a:gd name="T3" fmla="*/ 8956 h 429"/>
                <a:gd name="T4" fmla="*/ 10298 w 501"/>
                <a:gd name="T5" fmla="*/ 8649 h 429"/>
                <a:gd name="T6" fmla="*/ 8954 w 501"/>
                <a:gd name="T7" fmla="*/ 8017 h 429"/>
                <a:gd name="T8" fmla="*/ 7214 w 501"/>
                <a:gd name="T9" fmla="*/ 9771 h 429"/>
                <a:gd name="T10" fmla="*/ 8954 w 501"/>
                <a:gd name="T11" fmla="*/ 11487 h 429"/>
                <a:gd name="T12" fmla="*/ 10298 w 501"/>
                <a:gd name="T13" fmla="*/ 10866 h 429"/>
                <a:gd name="T14" fmla="*/ 10531 w 501"/>
                <a:gd name="T15" fmla="*/ 10554 h 429"/>
                <a:gd name="T16" fmla="*/ 11162 w 501"/>
                <a:gd name="T17" fmla="*/ 9771 h 429"/>
                <a:gd name="T18" fmla="*/ 5041 w 501"/>
                <a:gd name="T19" fmla="*/ 9731 h 429"/>
                <a:gd name="T20" fmla="*/ 8954 w 501"/>
                <a:gd name="T21" fmla="*/ 5859 h 429"/>
                <a:gd name="T22" fmla="*/ 11943 w 501"/>
                <a:gd name="T23" fmla="*/ 7235 h 429"/>
                <a:gd name="T24" fmla="*/ 11965 w 501"/>
                <a:gd name="T25" fmla="*/ 7301 h 429"/>
                <a:gd name="T26" fmla="*/ 12033 w 501"/>
                <a:gd name="T27" fmla="*/ 7273 h 429"/>
                <a:gd name="T28" fmla="*/ 7766 w 501"/>
                <a:gd name="T29" fmla="*/ 0 h 429"/>
                <a:gd name="T30" fmla="*/ 0 w 501"/>
                <a:gd name="T31" fmla="*/ 13392 h 429"/>
                <a:gd name="T32" fmla="*/ 7582 w 501"/>
                <a:gd name="T33" fmla="*/ 13392 h 429"/>
                <a:gd name="T34" fmla="*/ 7622 w 501"/>
                <a:gd name="T35" fmla="*/ 13364 h 429"/>
                <a:gd name="T36" fmla="*/ 6836 w 501"/>
                <a:gd name="T37" fmla="*/ 13024 h 429"/>
                <a:gd name="T38" fmla="*/ 5041 w 501"/>
                <a:gd name="T39" fmla="*/ 9731 h 429"/>
                <a:gd name="T40" fmla="*/ 15417 w 501"/>
                <a:gd name="T41" fmla="*/ 13324 h 429"/>
                <a:gd name="T42" fmla="*/ 14614 w 501"/>
                <a:gd name="T43" fmla="*/ 13111 h 429"/>
                <a:gd name="T44" fmla="*/ 12583 w 501"/>
                <a:gd name="T45" fmla="*/ 11447 h 429"/>
                <a:gd name="T46" fmla="*/ 11809 w 501"/>
                <a:gd name="T47" fmla="*/ 12426 h 429"/>
                <a:gd name="T48" fmla="*/ 10349 w 501"/>
                <a:gd name="T49" fmla="*/ 13364 h 429"/>
                <a:gd name="T50" fmla="*/ 10349 w 501"/>
                <a:gd name="T51" fmla="*/ 13392 h 429"/>
                <a:gd name="T52" fmla="*/ 15573 w 501"/>
                <a:gd name="T53" fmla="*/ 13392 h 429"/>
                <a:gd name="T54" fmla="*/ 15573 w 501"/>
                <a:gd name="T55" fmla="*/ 13364 h 429"/>
                <a:gd name="T56" fmla="*/ 15417 w 501"/>
                <a:gd name="T57" fmla="*/ 1332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4A5794EA-56A2-48AA-B4A2-00445256E3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5333 w 937"/>
                <a:gd name="T1" fmla="*/ 4228 h 326"/>
                <a:gd name="T2" fmla="*/ 2429 w 937"/>
                <a:gd name="T3" fmla="*/ 2768 h 326"/>
                <a:gd name="T4" fmla="*/ 3892 w 937"/>
                <a:gd name="T5" fmla="*/ 1646 h 326"/>
                <a:gd name="T6" fmla="*/ 5789 w 937"/>
                <a:gd name="T7" fmla="*/ 3108 h 326"/>
                <a:gd name="T8" fmla="*/ 7890 w 937"/>
                <a:gd name="T9" fmla="*/ 3108 h 326"/>
                <a:gd name="T10" fmla="*/ 3986 w 937"/>
                <a:gd name="T11" fmla="*/ 0 h 326"/>
                <a:gd name="T12" fmla="*/ 369 w 937"/>
                <a:gd name="T13" fmla="*/ 2924 h 326"/>
                <a:gd name="T14" fmla="*/ 3244 w 937"/>
                <a:gd name="T15" fmla="*/ 5690 h 326"/>
                <a:gd name="T16" fmla="*/ 6136 w 937"/>
                <a:gd name="T17" fmla="*/ 7287 h 326"/>
                <a:gd name="T18" fmla="*/ 4232 w 937"/>
                <a:gd name="T19" fmla="*/ 8496 h 326"/>
                <a:gd name="T20" fmla="*/ 2082 w 937"/>
                <a:gd name="T21" fmla="*/ 6694 h 326"/>
                <a:gd name="T22" fmla="*/ 28 w 937"/>
                <a:gd name="T23" fmla="*/ 6694 h 326"/>
                <a:gd name="T24" fmla="*/ 4182 w 937"/>
                <a:gd name="T25" fmla="*/ 10147 h 326"/>
                <a:gd name="T26" fmla="*/ 8190 w 937"/>
                <a:gd name="T27" fmla="*/ 7034 h 326"/>
                <a:gd name="T28" fmla="*/ 5333 w 937"/>
                <a:gd name="T29" fmla="*/ 4228 h 326"/>
                <a:gd name="T30" fmla="*/ 16861 w 937"/>
                <a:gd name="T31" fmla="*/ 3772 h 326"/>
                <a:gd name="T32" fmla="*/ 16861 w 937"/>
                <a:gd name="T33" fmla="*/ 3772 h 326"/>
                <a:gd name="T34" fmla="*/ 14751 w 937"/>
                <a:gd name="T35" fmla="*/ 2700 h 326"/>
                <a:gd name="T36" fmla="*/ 11663 w 937"/>
                <a:gd name="T37" fmla="*/ 6349 h 326"/>
                <a:gd name="T38" fmla="*/ 14801 w 937"/>
                <a:gd name="T39" fmla="*/ 10121 h 326"/>
                <a:gd name="T40" fmla="*/ 16928 w 937"/>
                <a:gd name="T41" fmla="*/ 9027 h 326"/>
                <a:gd name="T42" fmla="*/ 16951 w 937"/>
                <a:gd name="T43" fmla="*/ 9027 h 326"/>
                <a:gd name="T44" fmla="*/ 16951 w 937"/>
                <a:gd name="T45" fmla="*/ 9925 h 326"/>
                <a:gd name="T46" fmla="*/ 18799 w 937"/>
                <a:gd name="T47" fmla="*/ 9925 h 326"/>
                <a:gd name="T48" fmla="*/ 18799 w 937"/>
                <a:gd name="T49" fmla="*/ 250 h 326"/>
                <a:gd name="T50" fmla="*/ 16861 w 937"/>
                <a:gd name="T51" fmla="*/ 250 h 326"/>
                <a:gd name="T52" fmla="*/ 16861 w 937"/>
                <a:gd name="T53" fmla="*/ 3772 h 326"/>
                <a:gd name="T54" fmla="*/ 15276 w 937"/>
                <a:gd name="T55" fmla="*/ 8659 h 326"/>
                <a:gd name="T56" fmla="*/ 13589 w 937"/>
                <a:gd name="T57" fmla="*/ 6415 h 326"/>
                <a:gd name="T58" fmla="*/ 15276 w 937"/>
                <a:gd name="T59" fmla="*/ 4178 h 326"/>
                <a:gd name="T60" fmla="*/ 16928 w 937"/>
                <a:gd name="T61" fmla="*/ 6377 h 326"/>
                <a:gd name="T62" fmla="*/ 15276 w 937"/>
                <a:gd name="T63" fmla="*/ 8659 h 326"/>
                <a:gd name="T64" fmla="*/ 23097 w 937"/>
                <a:gd name="T65" fmla="*/ 2700 h 326"/>
                <a:gd name="T66" fmla="*/ 19512 w 937"/>
                <a:gd name="T67" fmla="*/ 6415 h 326"/>
                <a:gd name="T68" fmla="*/ 23097 w 937"/>
                <a:gd name="T69" fmla="*/ 10121 h 326"/>
                <a:gd name="T70" fmla="*/ 26370 w 937"/>
                <a:gd name="T71" fmla="*/ 7750 h 326"/>
                <a:gd name="T72" fmla="*/ 24682 w 937"/>
                <a:gd name="T73" fmla="*/ 7750 h 326"/>
                <a:gd name="T74" fmla="*/ 23165 w 937"/>
                <a:gd name="T75" fmla="*/ 8659 h 326"/>
                <a:gd name="T76" fmla="*/ 21412 w 937"/>
                <a:gd name="T77" fmla="*/ 6878 h 326"/>
                <a:gd name="T78" fmla="*/ 26492 w 937"/>
                <a:gd name="T79" fmla="*/ 6878 h 326"/>
                <a:gd name="T80" fmla="*/ 23097 w 937"/>
                <a:gd name="T81" fmla="*/ 2700 h 326"/>
                <a:gd name="T82" fmla="*/ 21412 w 937"/>
                <a:gd name="T83" fmla="*/ 5669 h 326"/>
                <a:gd name="T84" fmla="*/ 23036 w 937"/>
                <a:gd name="T85" fmla="*/ 4178 h 326"/>
                <a:gd name="T86" fmla="*/ 24567 w 937"/>
                <a:gd name="T87" fmla="*/ 5669 h 326"/>
                <a:gd name="T88" fmla="*/ 21412 w 937"/>
                <a:gd name="T89" fmla="*/ 5669 h 326"/>
                <a:gd name="T90" fmla="*/ 27279 w 937"/>
                <a:gd name="T91" fmla="*/ 9925 h 326"/>
                <a:gd name="T92" fmla="*/ 29205 w 937"/>
                <a:gd name="T93" fmla="*/ 9925 h 326"/>
                <a:gd name="T94" fmla="*/ 29205 w 937"/>
                <a:gd name="T95" fmla="*/ 250 h 326"/>
                <a:gd name="T96" fmla="*/ 27279 w 937"/>
                <a:gd name="T97" fmla="*/ 250 h 326"/>
                <a:gd name="T98" fmla="*/ 27279 w 937"/>
                <a:gd name="T99" fmla="*/ 9925 h 326"/>
                <a:gd name="T100" fmla="*/ 8915 w 937"/>
                <a:gd name="T101" fmla="*/ 9925 h 326"/>
                <a:gd name="T102" fmla="*/ 10843 w 937"/>
                <a:gd name="T103" fmla="*/ 9925 h 326"/>
                <a:gd name="T104" fmla="*/ 10843 w 937"/>
                <a:gd name="T105" fmla="*/ 2900 h 326"/>
                <a:gd name="T106" fmla="*/ 8915 w 937"/>
                <a:gd name="T107" fmla="*/ 2900 h 326"/>
                <a:gd name="T108" fmla="*/ 8915 w 937"/>
                <a:gd name="T109" fmla="*/ 9925 h 326"/>
                <a:gd name="T110" fmla="*/ 8915 w 937"/>
                <a:gd name="T111" fmla="*/ 1831 h 326"/>
                <a:gd name="T112" fmla="*/ 10843 w 937"/>
                <a:gd name="T113" fmla="*/ 1831 h 326"/>
                <a:gd name="T114" fmla="*/ 10843 w 937"/>
                <a:gd name="T115" fmla="*/ 250 h 326"/>
                <a:gd name="T116" fmla="*/ 8915 w 937"/>
                <a:gd name="T117" fmla="*/ 250 h 326"/>
                <a:gd name="T118" fmla="*/ 8915 w 937"/>
                <a:gd name="T119" fmla="*/ 183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10" name="Straight Connector 18">
            <a:extLst>
              <a:ext uri="{FF2B5EF4-FFF2-40B4-BE49-F238E27FC236}">
                <a16:creationId xmlns:a16="http://schemas.microsoft.com/office/drawing/2014/main" id="{D361968D-09C6-47CB-BBB8-F2890A9D0A77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1C9CC0A8-FD0E-41E6-8B71-6FB5D106FB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5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1C9CC0A8-FD0E-41E6-8B71-6FB5D106FB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77440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755907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81301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7C60CC04-22B0-4367-BE53-81BAA340415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5999A538-5835-4F87-A7B8-258677C0A2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8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5999A538-5835-4F87-A7B8-258677C0A2A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33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A94506E1-96C8-4FF2-952E-47C0199C138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676B1A2F-8D86-40A1-B2E8-2E39B01A2D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0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676B1A2F-8D86-40A1-B2E8-2E39B01A2DC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1FE6EF8D-D593-4140-B8E0-95AAB959CD7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b="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b="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>
                <a:solidFill>
                  <a:srgbClr val="FFFFFF"/>
                </a:solidFill>
              </a:rPr>
              <a:t>performance</a:t>
            </a:r>
            <a:r>
              <a:rPr lang="en-GB" altLang="fr-FR" b="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b="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>
                <a:solidFill>
                  <a:srgbClr val="FFFFFF"/>
                </a:solidFill>
              </a:rPr>
              <a:t>understand</a:t>
            </a:r>
            <a:r>
              <a:rPr lang="en-GB" altLang="fr-FR" b="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b="0">
                <a:solidFill>
                  <a:srgbClr val="FFFFFF"/>
                </a:solidFill>
              </a:rPr>
            </a:br>
            <a:r>
              <a:rPr lang="en-GB" altLang="fr-FR" b="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b="0">
                <a:solidFill>
                  <a:srgbClr val="FFFFFF"/>
                </a:solidFill>
              </a:rPr>
            </a:br>
            <a:r>
              <a:rPr lang="en-GB" altLang="fr-FR" b="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382BB065-1566-4B20-9EF0-A1FBDDDB642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>
                <a:solidFill>
                  <a:srgbClr val="FFFFFF"/>
                </a:solidFill>
              </a:rPr>
              <a:t>                </a:t>
            </a:r>
            <a:r>
              <a:rPr lang="en-GB" altLang="fr-FR" b="0">
                <a:solidFill>
                  <a:srgbClr val="FFFFFF"/>
                </a:solidFill>
              </a:rPr>
              <a:t>We call it </a:t>
            </a:r>
            <a:r>
              <a:rPr lang="en-GB" altLang="fr-FR" sz="1000">
                <a:solidFill>
                  <a:srgbClr val="FFFFFF"/>
                </a:solidFill>
              </a:rPr>
              <a:t>Performance through Understanding.</a:t>
            </a:r>
            <a:endParaRPr lang="en-GB" altLang="fr-FR" sz="1800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75A69449-0B15-4226-B47D-1A93F17D4AF6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22828112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43A80DE0-9B03-4B85-BF15-ACB0EE0F81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3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43A80DE0-9B03-4B85-BF15-ACB0EE0F81A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B0634-21D7-4E2A-AB4A-E36129C9CAF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0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b="0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4 January 2021</a:t>
            </a:fld>
            <a:endParaRPr lang="en-GB" b="0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DCCB67-8C14-4BC6-97C0-EF44946E7351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0" dirty="0">
                <a:solidFill>
                  <a:srgbClr val="7F7F7F"/>
                </a:solidFill>
              </a:rPr>
              <a:t>Page </a:t>
            </a:r>
            <a:fld id="{672EBD7A-B2C4-4E3A-9002-1F86CA09F697}" type="slidenum">
              <a:rPr lang="en-GB" b="0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b="0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978A2A7D-2683-4420-8EF2-9EC7576EC5F6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9751C1E9-40FC-4662-A258-4AFADBE099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591F15A5-1C3A-4CED-9060-2BD89D6D9C1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1162 w 501"/>
                <a:gd name="T1" fmla="*/ 9771 h 429"/>
                <a:gd name="T2" fmla="*/ 10531 w 501"/>
                <a:gd name="T3" fmla="*/ 8956 h 429"/>
                <a:gd name="T4" fmla="*/ 10298 w 501"/>
                <a:gd name="T5" fmla="*/ 8649 h 429"/>
                <a:gd name="T6" fmla="*/ 8954 w 501"/>
                <a:gd name="T7" fmla="*/ 8017 h 429"/>
                <a:gd name="T8" fmla="*/ 7214 w 501"/>
                <a:gd name="T9" fmla="*/ 9771 h 429"/>
                <a:gd name="T10" fmla="*/ 8954 w 501"/>
                <a:gd name="T11" fmla="*/ 11487 h 429"/>
                <a:gd name="T12" fmla="*/ 10298 w 501"/>
                <a:gd name="T13" fmla="*/ 10866 h 429"/>
                <a:gd name="T14" fmla="*/ 10531 w 501"/>
                <a:gd name="T15" fmla="*/ 10554 h 429"/>
                <a:gd name="T16" fmla="*/ 11162 w 501"/>
                <a:gd name="T17" fmla="*/ 9771 h 429"/>
                <a:gd name="T18" fmla="*/ 5041 w 501"/>
                <a:gd name="T19" fmla="*/ 9731 h 429"/>
                <a:gd name="T20" fmla="*/ 8954 w 501"/>
                <a:gd name="T21" fmla="*/ 5859 h 429"/>
                <a:gd name="T22" fmla="*/ 11943 w 501"/>
                <a:gd name="T23" fmla="*/ 7235 h 429"/>
                <a:gd name="T24" fmla="*/ 11965 w 501"/>
                <a:gd name="T25" fmla="*/ 7301 h 429"/>
                <a:gd name="T26" fmla="*/ 12033 w 501"/>
                <a:gd name="T27" fmla="*/ 7273 h 429"/>
                <a:gd name="T28" fmla="*/ 7766 w 501"/>
                <a:gd name="T29" fmla="*/ 0 h 429"/>
                <a:gd name="T30" fmla="*/ 0 w 501"/>
                <a:gd name="T31" fmla="*/ 13392 h 429"/>
                <a:gd name="T32" fmla="*/ 7582 w 501"/>
                <a:gd name="T33" fmla="*/ 13392 h 429"/>
                <a:gd name="T34" fmla="*/ 7622 w 501"/>
                <a:gd name="T35" fmla="*/ 13364 h 429"/>
                <a:gd name="T36" fmla="*/ 6836 w 501"/>
                <a:gd name="T37" fmla="*/ 13024 h 429"/>
                <a:gd name="T38" fmla="*/ 5041 w 501"/>
                <a:gd name="T39" fmla="*/ 9731 h 429"/>
                <a:gd name="T40" fmla="*/ 15417 w 501"/>
                <a:gd name="T41" fmla="*/ 13324 h 429"/>
                <a:gd name="T42" fmla="*/ 14614 w 501"/>
                <a:gd name="T43" fmla="*/ 13111 h 429"/>
                <a:gd name="T44" fmla="*/ 12583 w 501"/>
                <a:gd name="T45" fmla="*/ 11447 h 429"/>
                <a:gd name="T46" fmla="*/ 11809 w 501"/>
                <a:gd name="T47" fmla="*/ 12426 h 429"/>
                <a:gd name="T48" fmla="*/ 10349 w 501"/>
                <a:gd name="T49" fmla="*/ 13364 h 429"/>
                <a:gd name="T50" fmla="*/ 10349 w 501"/>
                <a:gd name="T51" fmla="*/ 13392 h 429"/>
                <a:gd name="T52" fmla="*/ 15573 w 501"/>
                <a:gd name="T53" fmla="*/ 13392 h 429"/>
                <a:gd name="T54" fmla="*/ 15573 w 501"/>
                <a:gd name="T55" fmla="*/ 13364 h 429"/>
                <a:gd name="T56" fmla="*/ 15417 w 501"/>
                <a:gd name="T57" fmla="*/ 1332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0D70E748-1BFA-4D7D-A462-2B62DAFD8DB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5333 w 937"/>
                <a:gd name="T1" fmla="*/ 4228 h 326"/>
                <a:gd name="T2" fmla="*/ 2429 w 937"/>
                <a:gd name="T3" fmla="*/ 2768 h 326"/>
                <a:gd name="T4" fmla="*/ 3892 w 937"/>
                <a:gd name="T5" fmla="*/ 1646 h 326"/>
                <a:gd name="T6" fmla="*/ 5789 w 937"/>
                <a:gd name="T7" fmla="*/ 3108 h 326"/>
                <a:gd name="T8" fmla="*/ 7890 w 937"/>
                <a:gd name="T9" fmla="*/ 3108 h 326"/>
                <a:gd name="T10" fmla="*/ 3986 w 937"/>
                <a:gd name="T11" fmla="*/ 0 h 326"/>
                <a:gd name="T12" fmla="*/ 369 w 937"/>
                <a:gd name="T13" fmla="*/ 2924 h 326"/>
                <a:gd name="T14" fmla="*/ 3244 w 937"/>
                <a:gd name="T15" fmla="*/ 5690 h 326"/>
                <a:gd name="T16" fmla="*/ 6136 w 937"/>
                <a:gd name="T17" fmla="*/ 7287 h 326"/>
                <a:gd name="T18" fmla="*/ 4232 w 937"/>
                <a:gd name="T19" fmla="*/ 8496 h 326"/>
                <a:gd name="T20" fmla="*/ 2082 w 937"/>
                <a:gd name="T21" fmla="*/ 6694 h 326"/>
                <a:gd name="T22" fmla="*/ 28 w 937"/>
                <a:gd name="T23" fmla="*/ 6694 h 326"/>
                <a:gd name="T24" fmla="*/ 4182 w 937"/>
                <a:gd name="T25" fmla="*/ 10147 h 326"/>
                <a:gd name="T26" fmla="*/ 8190 w 937"/>
                <a:gd name="T27" fmla="*/ 7034 h 326"/>
                <a:gd name="T28" fmla="*/ 5333 w 937"/>
                <a:gd name="T29" fmla="*/ 4228 h 326"/>
                <a:gd name="T30" fmla="*/ 16861 w 937"/>
                <a:gd name="T31" fmla="*/ 3772 h 326"/>
                <a:gd name="T32" fmla="*/ 16861 w 937"/>
                <a:gd name="T33" fmla="*/ 3772 h 326"/>
                <a:gd name="T34" fmla="*/ 14751 w 937"/>
                <a:gd name="T35" fmla="*/ 2700 h 326"/>
                <a:gd name="T36" fmla="*/ 11663 w 937"/>
                <a:gd name="T37" fmla="*/ 6349 h 326"/>
                <a:gd name="T38" fmla="*/ 14801 w 937"/>
                <a:gd name="T39" fmla="*/ 10121 h 326"/>
                <a:gd name="T40" fmla="*/ 16928 w 937"/>
                <a:gd name="T41" fmla="*/ 9027 h 326"/>
                <a:gd name="T42" fmla="*/ 16951 w 937"/>
                <a:gd name="T43" fmla="*/ 9027 h 326"/>
                <a:gd name="T44" fmla="*/ 16951 w 937"/>
                <a:gd name="T45" fmla="*/ 9925 h 326"/>
                <a:gd name="T46" fmla="*/ 18799 w 937"/>
                <a:gd name="T47" fmla="*/ 9925 h 326"/>
                <a:gd name="T48" fmla="*/ 18799 w 937"/>
                <a:gd name="T49" fmla="*/ 250 h 326"/>
                <a:gd name="T50" fmla="*/ 16861 w 937"/>
                <a:gd name="T51" fmla="*/ 250 h 326"/>
                <a:gd name="T52" fmla="*/ 16861 w 937"/>
                <a:gd name="T53" fmla="*/ 3772 h 326"/>
                <a:gd name="T54" fmla="*/ 15276 w 937"/>
                <a:gd name="T55" fmla="*/ 8659 h 326"/>
                <a:gd name="T56" fmla="*/ 13589 w 937"/>
                <a:gd name="T57" fmla="*/ 6415 h 326"/>
                <a:gd name="T58" fmla="*/ 15276 w 937"/>
                <a:gd name="T59" fmla="*/ 4178 h 326"/>
                <a:gd name="T60" fmla="*/ 16928 w 937"/>
                <a:gd name="T61" fmla="*/ 6377 h 326"/>
                <a:gd name="T62" fmla="*/ 15276 w 937"/>
                <a:gd name="T63" fmla="*/ 8659 h 326"/>
                <a:gd name="T64" fmla="*/ 23097 w 937"/>
                <a:gd name="T65" fmla="*/ 2700 h 326"/>
                <a:gd name="T66" fmla="*/ 19512 w 937"/>
                <a:gd name="T67" fmla="*/ 6415 h 326"/>
                <a:gd name="T68" fmla="*/ 23097 w 937"/>
                <a:gd name="T69" fmla="*/ 10121 h 326"/>
                <a:gd name="T70" fmla="*/ 26370 w 937"/>
                <a:gd name="T71" fmla="*/ 7750 h 326"/>
                <a:gd name="T72" fmla="*/ 24682 w 937"/>
                <a:gd name="T73" fmla="*/ 7750 h 326"/>
                <a:gd name="T74" fmla="*/ 23165 w 937"/>
                <a:gd name="T75" fmla="*/ 8659 h 326"/>
                <a:gd name="T76" fmla="*/ 21412 w 937"/>
                <a:gd name="T77" fmla="*/ 6878 h 326"/>
                <a:gd name="T78" fmla="*/ 26492 w 937"/>
                <a:gd name="T79" fmla="*/ 6878 h 326"/>
                <a:gd name="T80" fmla="*/ 23097 w 937"/>
                <a:gd name="T81" fmla="*/ 2700 h 326"/>
                <a:gd name="T82" fmla="*/ 21412 w 937"/>
                <a:gd name="T83" fmla="*/ 5669 h 326"/>
                <a:gd name="T84" fmla="*/ 23036 w 937"/>
                <a:gd name="T85" fmla="*/ 4178 h 326"/>
                <a:gd name="T86" fmla="*/ 24567 w 937"/>
                <a:gd name="T87" fmla="*/ 5669 h 326"/>
                <a:gd name="T88" fmla="*/ 21412 w 937"/>
                <a:gd name="T89" fmla="*/ 5669 h 326"/>
                <a:gd name="T90" fmla="*/ 27279 w 937"/>
                <a:gd name="T91" fmla="*/ 9925 h 326"/>
                <a:gd name="T92" fmla="*/ 29205 w 937"/>
                <a:gd name="T93" fmla="*/ 9925 h 326"/>
                <a:gd name="T94" fmla="*/ 29205 w 937"/>
                <a:gd name="T95" fmla="*/ 250 h 326"/>
                <a:gd name="T96" fmla="*/ 27279 w 937"/>
                <a:gd name="T97" fmla="*/ 250 h 326"/>
                <a:gd name="T98" fmla="*/ 27279 w 937"/>
                <a:gd name="T99" fmla="*/ 9925 h 326"/>
                <a:gd name="T100" fmla="*/ 8915 w 937"/>
                <a:gd name="T101" fmla="*/ 9925 h 326"/>
                <a:gd name="T102" fmla="*/ 10843 w 937"/>
                <a:gd name="T103" fmla="*/ 9925 h 326"/>
                <a:gd name="T104" fmla="*/ 10843 w 937"/>
                <a:gd name="T105" fmla="*/ 2900 h 326"/>
                <a:gd name="T106" fmla="*/ 8915 w 937"/>
                <a:gd name="T107" fmla="*/ 2900 h 326"/>
                <a:gd name="T108" fmla="*/ 8915 w 937"/>
                <a:gd name="T109" fmla="*/ 9925 h 326"/>
                <a:gd name="T110" fmla="*/ 8915 w 937"/>
                <a:gd name="T111" fmla="*/ 1831 h 326"/>
                <a:gd name="T112" fmla="*/ 10843 w 937"/>
                <a:gd name="T113" fmla="*/ 1831 h 326"/>
                <a:gd name="T114" fmla="*/ 10843 w 937"/>
                <a:gd name="T115" fmla="*/ 250 h 326"/>
                <a:gd name="T116" fmla="*/ 8915 w 937"/>
                <a:gd name="T117" fmla="*/ 250 h 326"/>
                <a:gd name="T118" fmla="*/ 8915 w 937"/>
                <a:gd name="T119" fmla="*/ 183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10" name="Straight Connector 18">
            <a:extLst>
              <a:ext uri="{FF2B5EF4-FFF2-40B4-BE49-F238E27FC236}">
                <a16:creationId xmlns:a16="http://schemas.microsoft.com/office/drawing/2014/main" id="{44E385EB-EAFF-4D1A-8995-EB415AD0F677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392058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6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5.xml"/><Relationship Id="rId9" Type="http://schemas.openxmlformats.org/officeDocument/2006/relationships/vmlDrawing" Target="../drawings/vmlDrawing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 January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9236160C-5FCD-4917-BFF5-AFFCC92170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1127185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34592177-1380-4164-965F-1790926D29BD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10" name="think-cell Folie" r:id="rId12" imgW="360" imgH="360" progId="TCLayout.ActiveDocument.1">
                  <p:embed/>
                </p:oleObj>
              </mc:Choice>
              <mc:Fallback>
                <p:oleObj name="think-cell Folie" r:id="rId12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34592177-1380-4164-965F-1790926D29B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EED5BD6A-6C79-4E5A-99FE-9AD127261FD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33A5E67B-4B3C-49C2-9E20-7CC9EF888A5C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3474D42E-5821-4FE4-B6B2-31BEA1F3139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0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b="0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4 January 2021</a:t>
            </a:fld>
            <a:endParaRPr lang="en-GB" b="0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1616C46E-ABB0-46BA-95F4-D609F8BA1B7D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0" dirty="0">
                <a:solidFill>
                  <a:srgbClr val="7F7F7F"/>
                </a:solidFill>
              </a:rPr>
              <a:t>Page </a:t>
            </a:r>
            <a:fld id="{D395A55C-0C4F-42DD-ADE0-660B6F56F7D1}" type="slidenum">
              <a:rPr lang="en-GB" b="0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b="0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53A18989-BFCB-4976-9ADC-82EE47923DE5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A3661841-A35E-4E05-B5DE-F3E63676DC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B0CBE355-EA9E-4720-9607-CCA429ECE87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1162 w 501"/>
                <a:gd name="T1" fmla="*/ 9771 h 429"/>
                <a:gd name="T2" fmla="*/ 10531 w 501"/>
                <a:gd name="T3" fmla="*/ 8956 h 429"/>
                <a:gd name="T4" fmla="*/ 10298 w 501"/>
                <a:gd name="T5" fmla="*/ 8649 h 429"/>
                <a:gd name="T6" fmla="*/ 8954 w 501"/>
                <a:gd name="T7" fmla="*/ 8017 h 429"/>
                <a:gd name="T8" fmla="*/ 7214 w 501"/>
                <a:gd name="T9" fmla="*/ 9771 h 429"/>
                <a:gd name="T10" fmla="*/ 8954 w 501"/>
                <a:gd name="T11" fmla="*/ 11487 h 429"/>
                <a:gd name="T12" fmla="*/ 10298 w 501"/>
                <a:gd name="T13" fmla="*/ 10866 h 429"/>
                <a:gd name="T14" fmla="*/ 10531 w 501"/>
                <a:gd name="T15" fmla="*/ 10554 h 429"/>
                <a:gd name="T16" fmla="*/ 11162 w 501"/>
                <a:gd name="T17" fmla="*/ 9771 h 429"/>
                <a:gd name="T18" fmla="*/ 5041 w 501"/>
                <a:gd name="T19" fmla="*/ 9731 h 429"/>
                <a:gd name="T20" fmla="*/ 8954 w 501"/>
                <a:gd name="T21" fmla="*/ 5859 h 429"/>
                <a:gd name="T22" fmla="*/ 11943 w 501"/>
                <a:gd name="T23" fmla="*/ 7235 h 429"/>
                <a:gd name="T24" fmla="*/ 11965 w 501"/>
                <a:gd name="T25" fmla="*/ 7301 h 429"/>
                <a:gd name="T26" fmla="*/ 12033 w 501"/>
                <a:gd name="T27" fmla="*/ 7273 h 429"/>
                <a:gd name="T28" fmla="*/ 7766 w 501"/>
                <a:gd name="T29" fmla="*/ 0 h 429"/>
                <a:gd name="T30" fmla="*/ 0 w 501"/>
                <a:gd name="T31" fmla="*/ 13392 h 429"/>
                <a:gd name="T32" fmla="*/ 7582 w 501"/>
                <a:gd name="T33" fmla="*/ 13392 h 429"/>
                <a:gd name="T34" fmla="*/ 7622 w 501"/>
                <a:gd name="T35" fmla="*/ 13364 h 429"/>
                <a:gd name="T36" fmla="*/ 6836 w 501"/>
                <a:gd name="T37" fmla="*/ 13024 h 429"/>
                <a:gd name="T38" fmla="*/ 5041 w 501"/>
                <a:gd name="T39" fmla="*/ 9731 h 429"/>
                <a:gd name="T40" fmla="*/ 15417 w 501"/>
                <a:gd name="T41" fmla="*/ 13324 h 429"/>
                <a:gd name="T42" fmla="*/ 14614 w 501"/>
                <a:gd name="T43" fmla="*/ 13111 h 429"/>
                <a:gd name="T44" fmla="*/ 12583 w 501"/>
                <a:gd name="T45" fmla="*/ 11447 h 429"/>
                <a:gd name="T46" fmla="*/ 11809 w 501"/>
                <a:gd name="T47" fmla="*/ 12426 h 429"/>
                <a:gd name="T48" fmla="*/ 10349 w 501"/>
                <a:gd name="T49" fmla="*/ 13364 h 429"/>
                <a:gd name="T50" fmla="*/ 10349 w 501"/>
                <a:gd name="T51" fmla="*/ 13392 h 429"/>
                <a:gd name="T52" fmla="*/ 15573 w 501"/>
                <a:gd name="T53" fmla="*/ 13392 h 429"/>
                <a:gd name="T54" fmla="*/ 15573 w 501"/>
                <a:gd name="T55" fmla="*/ 13364 h 429"/>
                <a:gd name="T56" fmla="*/ 15417 w 501"/>
                <a:gd name="T57" fmla="*/ 1332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652D1F1A-222F-4708-AE89-9F2BEE7826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5333 w 937"/>
                <a:gd name="T1" fmla="*/ 4228 h 326"/>
                <a:gd name="T2" fmla="*/ 2429 w 937"/>
                <a:gd name="T3" fmla="*/ 2768 h 326"/>
                <a:gd name="T4" fmla="*/ 3892 w 937"/>
                <a:gd name="T5" fmla="*/ 1646 h 326"/>
                <a:gd name="T6" fmla="*/ 5789 w 937"/>
                <a:gd name="T7" fmla="*/ 3108 h 326"/>
                <a:gd name="T8" fmla="*/ 7890 w 937"/>
                <a:gd name="T9" fmla="*/ 3108 h 326"/>
                <a:gd name="T10" fmla="*/ 3986 w 937"/>
                <a:gd name="T11" fmla="*/ 0 h 326"/>
                <a:gd name="T12" fmla="*/ 369 w 937"/>
                <a:gd name="T13" fmla="*/ 2924 h 326"/>
                <a:gd name="T14" fmla="*/ 3244 w 937"/>
                <a:gd name="T15" fmla="*/ 5690 h 326"/>
                <a:gd name="T16" fmla="*/ 6136 w 937"/>
                <a:gd name="T17" fmla="*/ 7287 h 326"/>
                <a:gd name="T18" fmla="*/ 4232 w 937"/>
                <a:gd name="T19" fmla="*/ 8496 h 326"/>
                <a:gd name="T20" fmla="*/ 2082 w 937"/>
                <a:gd name="T21" fmla="*/ 6694 h 326"/>
                <a:gd name="T22" fmla="*/ 28 w 937"/>
                <a:gd name="T23" fmla="*/ 6694 h 326"/>
                <a:gd name="T24" fmla="*/ 4182 w 937"/>
                <a:gd name="T25" fmla="*/ 10147 h 326"/>
                <a:gd name="T26" fmla="*/ 8190 w 937"/>
                <a:gd name="T27" fmla="*/ 7034 h 326"/>
                <a:gd name="T28" fmla="*/ 5333 w 937"/>
                <a:gd name="T29" fmla="*/ 4228 h 326"/>
                <a:gd name="T30" fmla="*/ 16861 w 937"/>
                <a:gd name="T31" fmla="*/ 3772 h 326"/>
                <a:gd name="T32" fmla="*/ 16861 w 937"/>
                <a:gd name="T33" fmla="*/ 3772 h 326"/>
                <a:gd name="T34" fmla="*/ 14751 w 937"/>
                <a:gd name="T35" fmla="*/ 2700 h 326"/>
                <a:gd name="T36" fmla="*/ 11663 w 937"/>
                <a:gd name="T37" fmla="*/ 6349 h 326"/>
                <a:gd name="T38" fmla="*/ 14801 w 937"/>
                <a:gd name="T39" fmla="*/ 10121 h 326"/>
                <a:gd name="T40" fmla="*/ 16928 w 937"/>
                <a:gd name="T41" fmla="*/ 9027 h 326"/>
                <a:gd name="T42" fmla="*/ 16951 w 937"/>
                <a:gd name="T43" fmla="*/ 9027 h 326"/>
                <a:gd name="T44" fmla="*/ 16951 w 937"/>
                <a:gd name="T45" fmla="*/ 9925 h 326"/>
                <a:gd name="T46" fmla="*/ 18799 w 937"/>
                <a:gd name="T47" fmla="*/ 9925 h 326"/>
                <a:gd name="T48" fmla="*/ 18799 w 937"/>
                <a:gd name="T49" fmla="*/ 250 h 326"/>
                <a:gd name="T50" fmla="*/ 16861 w 937"/>
                <a:gd name="T51" fmla="*/ 250 h 326"/>
                <a:gd name="T52" fmla="*/ 16861 w 937"/>
                <a:gd name="T53" fmla="*/ 3772 h 326"/>
                <a:gd name="T54" fmla="*/ 15276 w 937"/>
                <a:gd name="T55" fmla="*/ 8659 h 326"/>
                <a:gd name="T56" fmla="*/ 13589 w 937"/>
                <a:gd name="T57" fmla="*/ 6415 h 326"/>
                <a:gd name="T58" fmla="*/ 15276 w 937"/>
                <a:gd name="T59" fmla="*/ 4178 h 326"/>
                <a:gd name="T60" fmla="*/ 16928 w 937"/>
                <a:gd name="T61" fmla="*/ 6377 h 326"/>
                <a:gd name="T62" fmla="*/ 15276 w 937"/>
                <a:gd name="T63" fmla="*/ 8659 h 326"/>
                <a:gd name="T64" fmla="*/ 23097 w 937"/>
                <a:gd name="T65" fmla="*/ 2700 h 326"/>
                <a:gd name="T66" fmla="*/ 19512 w 937"/>
                <a:gd name="T67" fmla="*/ 6415 h 326"/>
                <a:gd name="T68" fmla="*/ 23097 w 937"/>
                <a:gd name="T69" fmla="*/ 10121 h 326"/>
                <a:gd name="T70" fmla="*/ 26370 w 937"/>
                <a:gd name="T71" fmla="*/ 7750 h 326"/>
                <a:gd name="T72" fmla="*/ 24682 w 937"/>
                <a:gd name="T73" fmla="*/ 7750 h 326"/>
                <a:gd name="T74" fmla="*/ 23165 w 937"/>
                <a:gd name="T75" fmla="*/ 8659 h 326"/>
                <a:gd name="T76" fmla="*/ 21412 w 937"/>
                <a:gd name="T77" fmla="*/ 6878 h 326"/>
                <a:gd name="T78" fmla="*/ 26492 w 937"/>
                <a:gd name="T79" fmla="*/ 6878 h 326"/>
                <a:gd name="T80" fmla="*/ 23097 w 937"/>
                <a:gd name="T81" fmla="*/ 2700 h 326"/>
                <a:gd name="T82" fmla="*/ 21412 w 937"/>
                <a:gd name="T83" fmla="*/ 5669 h 326"/>
                <a:gd name="T84" fmla="*/ 23036 w 937"/>
                <a:gd name="T85" fmla="*/ 4178 h 326"/>
                <a:gd name="T86" fmla="*/ 24567 w 937"/>
                <a:gd name="T87" fmla="*/ 5669 h 326"/>
                <a:gd name="T88" fmla="*/ 21412 w 937"/>
                <a:gd name="T89" fmla="*/ 5669 h 326"/>
                <a:gd name="T90" fmla="*/ 27279 w 937"/>
                <a:gd name="T91" fmla="*/ 9925 h 326"/>
                <a:gd name="T92" fmla="*/ 29205 w 937"/>
                <a:gd name="T93" fmla="*/ 9925 h 326"/>
                <a:gd name="T94" fmla="*/ 29205 w 937"/>
                <a:gd name="T95" fmla="*/ 250 h 326"/>
                <a:gd name="T96" fmla="*/ 27279 w 937"/>
                <a:gd name="T97" fmla="*/ 250 h 326"/>
                <a:gd name="T98" fmla="*/ 27279 w 937"/>
                <a:gd name="T99" fmla="*/ 9925 h 326"/>
                <a:gd name="T100" fmla="*/ 8915 w 937"/>
                <a:gd name="T101" fmla="*/ 9925 h 326"/>
                <a:gd name="T102" fmla="*/ 10843 w 937"/>
                <a:gd name="T103" fmla="*/ 9925 h 326"/>
                <a:gd name="T104" fmla="*/ 10843 w 937"/>
                <a:gd name="T105" fmla="*/ 2900 h 326"/>
                <a:gd name="T106" fmla="*/ 8915 w 937"/>
                <a:gd name="T107" fmla="*/ 2900 h 326"/>
                <a:gd name="T108" fmla="*/ 8915 w 937"/>
                <a:gd name="T109" fmla="*/ 9925 h 326"/>
                <a:gd name="T110" fmla="*/ 8915 w 937"/>
                <a:gd name="T111" fmla="*/ 1831 h 326"/>
                <a:gd name="T112" fmla="*/ 10843 w 937"/>
                <a:gd name="T113" fmla="*/ 1831 h 326"/>
                <a:gd name="T114" fmla="*/ 10843 w 937"/>
                <a:gd name="T115" fmla="*/ 250 h 326"/>
                <a:gd name="T116" fmla="*/ 8915 w 937"/>
                <a:gd name="T117" fmla="*/ 250 h 326"/>
                <a:gd name="T118" fmla="*/ 8915 w 937"/>
                <a:gd name="T119" fmla="*/ 183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F91302C-9157-4175-80E7-9D9B93161A25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1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211282B6-AC9C-4D82-A2D9-71B085E7C4E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240213" y="6624638"/>
            <a:ext cx="663575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>
            <a:lvl1pPr>
              <a:defRPr sz="900" b="1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742950" indent="-285750">
              <a:defRPr sz="900" b="1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143000" indent="-228600">
              <a:defRPr sz="900" b="1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200" indent="-228600">
              <a:defRPr sz="900" b="1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7400" indent="-228600">
              <a:defRPr sz="900" b="1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fr-FR" altLang="fr-FR">
                <a:solidFill>
                  <a:srgbClr val="7F7F7F"/>
                </a:solidFill>
              </a:rPr>
              <a:t>General</a:t>
            </a: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8098602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7" r:id="rId1"/>
    <p:sldLayoutId id="2147484048" r:id="rId2"/>
    <p:sldLayoutId id="2147484049" r:id="rId3"/>
    <p:sldLayoutId id="2147484050" r:id="rId4"/>
    <p:sldLayoutId id="2147484051" r:id="rId5"/>
    <p:sldLayoutId id="2147484052" r:id="rId6"/>
    <p:sldLayoutId id="2147484053" r:id="rId7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Objekt 2" hidden="1">
            <a:extLst>
              <a:ext uri="{FF2B5EF4-FFF2-40B4-BE49-F238E27FC236}">
                <a16:creationId xmlns:a16="http://schemas.microsoft.com/office/drawing/2014/main" id="{38AA8AC7-DFD7-44CA-970C-2A6227DD9A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6626" name="Objekt 2" hidden="1">
                        <a:extLst>
                          <a:ext uri="{FF2B5EF4-FFF2-40B4-BE49-F238E27FC236}">
                            <a16:creationId xmlns:a16="http://schemas.microsoft.com/office/drawing/2014/main" id="{38AA8AC7-DFD7-44CA-970C-2A6227DD9AD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4">
            <a:extLst>
              <a:ext uri="{FF2B5EF4-FFF2-40B4-BE49-F238E27FC236}">
                <a16:creationId xmlns:a16="http://schemas.microsoft.com/office/drawing/2014/main" id="{4366D5EA-A7A6-416F-811A-8F5D1B2E7D64}"/>
              </a:ext>
            </a:extLst>
          </p:cNvPr>
          <p:cNvSpPr txBox="1">
            <a:spLocks noChangeArrowheads="1"/>
          </p:cNvSpPr>
          <p:nvPr/>
        </p:nvSpPr>
        <p:spPr>
          <a:xfrm>
            <a:off x="4795838" y="1458913"/>
            <a:ext cx="3844925" cy="360362"/>
          </a:xfrm>
          <a:prstGeom prst="rect">
            <a:avLst/>
          </a:prstGeom>
          <a:solidFill>
            <a:schemeClr val="accent4"/>
          </a:solidFill>
        </p:spPr>
        <p:txBody>
          <a:bodyPr lIns="108000" tIns="72000" rIns="108000" bIns="72000" anchor="ctr"/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DESCRIPTION</a:t>
            </a:r>
            <a:endParaRPr kumimoji="0" lang="en-GB" altLang="de-DE" sz="1400" b="0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5A02A1D-6818-4B04-AD94-209BAB477A80}"/>
              </a:ext>
            </a:extLst>
          </p:cNvPr>
          <p:cNvSpPr/>
          <p:nvPr/>
        </p:nvSpPr>
        <p:spPr>
          <a:xfrm>
            <a:off x="647700" y="1485900"/>
            <a:ext cx="3876675" cy="4294188"/>
          </a:xfrm>
          <a:prstGeom prst="rect">
            <a:avLst/>
          </a:prstGeom>
          <a:noFill/>
          <a:ln w="1270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811682E-BD7B-4766-ACB7-7B36CDBC3A34}"/>
              </a:ext>
            </a:extLst>
          </p:cNvPr>
          <p:cNvSpPr/>
          <p:nvPr/>
        </p:nvSpPr>
        <p:spPr>
          <a:xfrm>
            <a:off x="4795838" y="1485900"/>
            <a:ext cx="3844925" cy="4294188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671D04C3-EE67-4951-B898-4B3E20644349}"/>
              </a:ext>
            </a:extLst>
          </p:cNvPr>
          <p:cNvSpPr txBox="1">
            <a:spLocks noChangeArrowheads="1"/>
          </p:cNvSpPr>
          <p:nvPr/>
        </p:nvSpPr>
        <p:spPr>
          <a:xfrm>
            <a:off x="647700" y="1460500"/>
            <a:ext cx="3876675" cy="360363"/>
          </a:xfrm>
          <a:prstGeom prst="rect">
            <a:avLst/>
          </a:prstGeom>
          <a:solidFill>
            <a:schemeClr val="accent4"/>
          </a:solidFill>
        </p:spPr>
        <p:txBody>
          <a:bodyPr lIns="108000" tIns="72000" rIns="108000" bIns="72000" anchor="ctr"/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VALUE AND BENEFI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8418B8C-9BF6-4108-AAA9-AA8E3A5AE08B}"/>
              </a:ext>
            </a:extLst>
          </p:cNvPr>
          <p:cNvSpPr/>
          <p:nvPr/>
        </p:nvSpPr>
        <p:spPr>
          <a:xfrm>
            <a:off x="647700" y="1919288"/>
            <a:ext cx="3876675" cy="2092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avings in 40b air of at least 15% and up to 40%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pending on process parameters</a:t>
            </a:r>
          </a:p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avings in 7b air of 100%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n 95% of the applications. Only 20 Nm3/h are necessary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n start-up to prime system</a:t>
            </a:r>
          </a:p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stant bottle quality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with no variation in process parameters</a:t>
            </a:r>
          </a:p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perating reliability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 maintenance necessary</a:t>
            </a:r>
          </a:p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duced investment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s compressors are sized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o perfect fi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FCB102-E4B7-4C09-8CA4-71AE095FE7DC}"/>
              </a:ext>
            </a:extLst>
          </p:cNvPr>
          <p:cNvSpPr/>
          <p:nvPr/>
        </p:nvSpPr>
        <p:spPr>
          <a:xfrm>
            <a:off x="4868863" y="1878013"/>
            <a:ext cx="3771900" cy="2600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e amount of recovered air is linked to the type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blowers and depends also on the production conditions</a:t>
            </a:r>
          </a:p>
          <a:p>
            <a:pPr marL="357188" marR="0" lvl="1" indent="-17462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achine rate, number of blowing stations,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blow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and blow pressure, bottle capacity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e recovered air could be re-used to generate</a:t>
            </a:r>
          </a:p>
          <a:p>
            <a:pPr marL="357188" marR="0" lvl="0" indent="-17462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blow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air</a:t>
            </a:r>
          </a:p>
          <a:p>
            <a:pPr marL="357188" marR="0" lvl="0" indent="-17462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retching and nozzle cylinders air</a:t>
            </a:r>
          </a:p>
          <a:p>
            <a:pPr marL="357188" marR="0" lvl="0" indent="-17462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ow pressure air out of the machine </a:t>
            </a:r>
            <a:b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(the blower acts as a LP compressor)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e minimum required PCC version to install this O&amp;U is V2.02; for prior versions, an update of the PCC is mandatory</a:t>
            </a:r>
          </a:p>
        </p:txBody>
      </p:sp>
      <p:pic>
        <p:nvPicPr>
          <p:cNvPr id="26633" name="Picture 11" descr="543_serie 2_a01">
            <a:extLst>
              <a:ext uri="{FF2B5EF4-FFF2-40B4-BE49-F238E27FC236}">
                <a16:creationId xmlns:a16="http://schemas.microsoft.com/office/drawing/2014/main" id="{A604AAEA-C019-4B4C-8C52-BC0C798104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400" y="4652963"/>
            <a:ext cx="1625600" cy="99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34" name="Text Placeholder 2">
            <a:extLst>
              <a:ext uri="{FF2B5EF4-FFF2-40B4-BE49-F238E27FC236}">
                <a16:creationId xmlns:a16="http://schemas.microsoft.com/office/drawing/2014/main" id="{BE2E2D90-1CB5-4FF2-9DB3-376E046F3CE9}"/>
              </a:ext>
            </a:extLst>
          </p:cNvPr>
          <p:cNvSpPr txBox="1">
            <a:spLocks/>
          </p:cNvSpPr>
          <p:nvPr/>
        </p:nvSpPr>
        <p:spPr bwMode="auto">
          <a:xfrm>
            <a:off x="652463" y="5862638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: Cost Optimisation, Sustainability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Series 2 blower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543</a:t>
            </a:r>
          </a:p>
        </p:txBody>
      </p:sp>
      <p:sp>
        <p:nvSpPr>
          <p:cNvPr id="26635" name="Title 1">
            <a:extLst>
              <a:ext uri="{FF2B5EF4-FFF2-40B4-BE49-F238E27FC236}">
                <a16:creationId xmlns:a16="http://schemas.microsoft.com/office/drawing/2014/main" id="{89B121EF-6597-48FE-B5D5-A8B3D7A25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34963"/>
            <a:ext cx="7993063" cy="936625"/>
          </a:xfrm>
        </p:spPr>
        <p:txBody>
          <a:bodyPr/>
          <a:lstStyle/>
          <a:p>
            <a:pPr eaLnBrk="1" hangingPunct="1"/>
            <a:r>
              <a:rPr lang="en-US" altLang="fr-FR"/>
              <a:t>Recover up to 40% of blowing air</a:t>
            </a:r>
          </a:p>
        </p:txBody>
      </p:sp>
      <p:sp>
        <p:nvSpPr>
          <p:cNvPr id="26636" name="Text Placeholder 2">
            <a:extLst>
              <a:ext uri="{FF2B5EF4-FFF2-40B4-BE49-F238E27FC236}">
                <a16:creationId xmlns:a16="http://schemas.microsoft.com/office/drawing/2014/main" id="{63101C57-0C8A-4691-A420-C93DC9813FE0}"/>
              </a:ext>
            </a:extLst>
          </p:cNvPr>
          <p:cNvSpPr txBox="1">
            <a:spLocks/>
          </p:cNvSpPr>
          <p:nvPr/>
        </p:nvSpPr>
        <p:spPr bwMode="auto">
          <a:xfrm>
            <a:off x="642938" y="1108075"/>
            <a:ext cx="79978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77800" indent="-1778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9388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4988" indent="-1778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9388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9388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9388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9388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9388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fr-F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RK: Air Recovery Kit</a:t>
            </a: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81</Words>
  <Application>Microsoft Office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ＭＳ Ｐゴシック</vt:lpstr>
      <vt:lpstr>Arial</vt:lpstr>
      <vt:lpstr>Book Antiqua</vt:lpstr>
      <vt:lpstr>Wingdings</vt:lpstr>
      <vt:lpstr>LIOMT</vt:lpstr>
      <vt:lpstr>2_NewSidel_Template_4x3_with add layouts</vt:lpstr>
      <vt:lpstr>think-cell Folie</vt:lpstr>
      <vt:lpstr>Recover up to 40% of blowing air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56</cp:revision>
  <dcterms:created xsi:type="dcterms:W3CDTF">2014-05-22T13:23:46Z</dcterms:created>
  <dcterms:modified xsi:type="dcterms:W3CDTF">2021-01-04T16:04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2:36:50.4515095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2T11:08:29.972408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2T11:08:29.972408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